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9"/>
  </p:notesMasterIdLst>
  <p:handoutMasterIdLst>
    <p:handoutMasterId r:id="rId50"/>
  </p:handoutMasterIdLst>
  <p:sldIdLst>
    <p:sldId id="285" r:id="rId2"/>
    <p:sldId id="300" r:id="rId3"/>
    <p:sldId id="288" r:id="rId4"/>
    <p:sldId id="302" r:id="rId5"/>
    <p:sldId id="303" r:id="rId6"/>
    <p:sldId id="304" r:id="rId7"/>
    <p:sldId id="301" r:id="rId8"/>
    <p:sldId id="286" r:id="rId9"/>
    <p:sldId id="289" r:id="rId10"/>
    <p:sldId id="290" r:id="rId11"/>
    <p:sldId id="287" r:id="rId12"/>
    <p:sldId id="291" r:id="rId13"/>
    <p:sldId id="292" r:id="rId14"/>
    <p:sldId id="293" r:id="rId15"/>
    <p:sldId id="305" r:id="rId16"/>
    <p:sldId id="296" r:id="rId17"/>
    <p:sldId id="294" r:id="rId18"/>
    <p:sldId id="306" r:id="rId19"/>
    <p:sldId id="307" r:id="rId20"/>
    <p:sldId id="308" r:id="rId21"/>
    <p:sldId id="295" r:id="rId22"/>
    <p:sldId id="309" r:id="rId23"/>
    <p:sldId id="297" r:id="rId24"/>
    <p:sldId id="298" r:id="rId25"/>
    <p:sldId id="299" r:id="rId26"/>
    <p:sldId id="310" r:id="rId27"/>
    <p:sldId id="256" r:id="rId28"/>
    <p:sldId id="257" r:id="rId29"/>
    <p:sldId id="258" r:id="rId30"/>
    <p:sldId id="259" r:id="rId31"/>
    <p:sldId id="260" r:id="rId32"/>
    <p:sldId id="261" r:id="rId33"/>
    <p:sldId id="262" r:id="rId34"/>
    <p:sldId id="263" r:id="rId35"/>
    <p:sldId id="264" r:id="rId36"/>
    <p:sldId id="265" r:id="rId37"/>
    <p:sldId id="266" r:id="rId38"/>
    <p:sldId id="267" r:id="rId39"/>
    <p:sldId id="268" r:id="rId40"/>
    <p:sldId id="269" r:id="rId41"/>
    <p:sldId id="270" r:id="rId42"/>
    <p:sldId id="277" r:id="rId43"/>
    <p:sldId id="278" r:id="rId44"/>
    <p:sldId id="279" r:id="rId45"/>
    <p:sldId id="280" r:id="rId46"/>
    <p:sldId id="283" r:id="rId47"/>
    <p:sldId id="284" r:id="rId48"/>
  </p:sldIdLst>
  <p:sldSz cx="12193588" cy="6858000"/>
  <p:notesSz cx="7559675" cy="10691813"/>
  <p:custDataLst>
    <p:tags r:id="rId5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300"/>
            <p14:sldId id="288"/>
            <p14:sldId id="302"/>
            <p14:sldId id="303"/>
            <p14:sldId id="304"/>
            <p14:sldId id="301"/>
            <p14:sldId id="286"/>
            <p14:sldId id="289"/>
            <p14:sldId id="290"/>
            <p14:sldId id="287"/>
            <p14:sldId id="291"/>
            <p14:sldId id="292"/>
            <p14:sldId id="293"/>
            <p14:sldId id="305"/>
            <p14:sldId id="296"/>
            <p14:sldId id="294"/>
            <p14:sldId id="306"/>
            <p14:sldId id="307"/>
            <p14:sldId id="308"/>
            <p14:sldId id="295"/>
            <p14:sldId id="309"/>
            <p14:sldId id="297"/>
            <p14:sldId id="298"/>
            <p14:sldId id="299"/>
            <p14:sldId id="310"/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</p14:sldIdLst>
        </p14:section>
        <p14:section name="Weitere Folien" id="{DB60F583-B12D-4121-8BAE-4EFC26CACC81}">
          <p14:sldIdLst>
            <p14:sldId id="268"/>
            <p14:sldId id="269"/>
            <p14:sldId id="270"/>
            <p14:sldId id="277"/>
            <p14:sldId id="278"/>
            <p14:sldId id="279"/>
            <p14:sldId id="280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4660"/>
  </p:normalViewPr>
  <p:slideViewPr>
    <p:cSldViewPr snapToGrid="0" snapToObjects="1" showGuides="1">
      <p:cViewPr varScale="1">
        <p:scale>
          <a:sx n="120" d="100"/>
          <a:sy n="120" d="100"/>
        </p:scale>
        <p:origin x="9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5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4543A6-537F-4089-9A3E-E7BD17CFC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04A1A60-F6CA-4327-B13E-F91E1552B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796E430-E199-42D1-B750-00CFE32E2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2BEA0F-D748-4945-B265-C1D001BBF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BD0E80A-4A08-4CA9-A51F-C439E2C29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C1FBC5-FA0E-4AA6-A1CC-83136BC436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B23B5A8-D5FC-4407-A2A2-C3481861E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C1F08ED-317F-4C8E-8AC5-3645E7730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78F2F31-45DA-4D1C-8AE7-0F558171E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14BCCB-E2E0-4EE9-A123-ABB6E55B6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3190AF5-C961-40FF-8EB4-96F563C5BE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E87AE4-D3DA-4B94-B821-B1DA0E751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6" imgW="384" imgH="385" progId="TCLayout.ActiveDocument.1">
                  <p:embed/>
                </p:oleObj>
              </mc:Choice>
              <mc:Fallback>
                <p:oleObj name="think-cell Folie" r:id="rId16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713C047-2ADE-439A-83F7-6E448A43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isocpp.github.io/CppCoreGuidelines/CppCoreGuidelines#nl19-avoid-names-that-are-easily-misread" TargetMode="Externa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isocpp.github.io/CppCoreGuidelines/CppCoreGuidelines#es8-avoid-similar-looking-names" TargetMode="Externa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isocpp.github.io/CppCoreGuidelines/CppCoreGuidelines#nl5-avoid-encoding-type-information-in-names" TargetMode="Externa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1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2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3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4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15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6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7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7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7.jpeg"/><Relationship Id="rId2" Type="http://schemas.openxmlformats.org/officeDocument/2006/relationships/tags" Target="../tags/tag6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7.jpeg"/><Relationship Id="rId2" Type="http://schemas.openxmlformats.org/officeDocument/2006/relationships/tags" Target="../tags/tag6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7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0EDFEE73-8DD0-4A87-B8FD-808787B2601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3176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95696-766C-4C27-8EF3-F70372EA357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Clean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DB9E31A-2C94-4A87-961C-E11E132B2E8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Names</a:t>
            </a:r>
          </a:p>
        </p:txBody>
      </p:sp>
    </p:spTree>
    <p:extLst>
      <p:ext uri="{BB962C8B-B14F-4D97-AF65-F5344CB8AC3E}">
        <p14:creationId xmlns:p14="http://schemas.microsoft.com/office/powerpoint/2010/main" val="2378973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4C9BB0-E6A6-4122-8D5D-08D8165B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ming Rules (Clean Code)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CC3681-8BC2-4E93-9011-232ACF83B9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146E12-E404-4FAD-A4DB-C444C9437C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625559"/>
            <a:ext cx="10261600" cy="350378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f-explanatory na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ntion-revealing na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nounceable and searchable na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scribe problem, not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oid disinformation and make meaningful disti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oid encodings (Hungarian not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oose parts of speech w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scope-length rule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2847727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3A97E-4B43-409D-84CE-26B13CB2C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self-explanatory name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C1259A-F347-4B37-B372-F3FEFB76A6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F53B27-CCA1-4E7C-B294-6B4B7193D4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// Elapsed time in days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int d;</a:t>
            </a:r>
          </a:p>
          <a:p>
            <a:endParaRPr lang="en-US" dirty="0">
              <a:latin typeface="Consolas" panose="020B0609020204030204" pitchFamily="49" charset="0"/>
            </a:endParaRPr>
          </a:p>
          <a:p>
            <a:r>
              <a:rPr lang="en-US" dirty="0">
                <a:latin typeface="Consolas" panose="020B0609020204030204" pitchFamily="49" charset="0"/>
              </a:rPr>
              <a:t>int </a:t>
            </a:r>
            <a:r>
              <a:rPr lang="en-US" dirty="0" err="1">
                <a:latin typeface="Consolas" panose="020B0609020204030204" pitchFamily="49" charset="0"/>
              </a:rPr>
              <a:t>elapsed_time_in_days</a:t>
            </a:r>
            <a:r>
              <a:rPr lang="en-US" dirty="0">
                <a:latin typeface="Consolas" panose="020B060902020403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9118656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933A07-C007-4AB6-B5B8-7B6AD8739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tion-Revealing Name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D77BDC-51C5-42BA-98F0-6E6490952E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CA081E-F884-4839-8322-28E64F1443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9528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flect intention, behavior, reason for existence</a:t>
            </a:r>
            <a:endParaRPr lang="en-DE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04F654E-2455-4D50-A8FE-4726899D0F46}"/>
              </a:ext>
            </a:extLst>
          </p:cNvPr>
          <p:cNvSpPr txBox="1">
            <a:spLocks/>
          </p:cNvSpPr>
          <p:nvPr/>
        </p:nvSpPr>
        <p:spPr>
          <a:xfrm>
            <a:off x="947738" y="4131258"/>
            <a:ext cx="10800430" cy="172945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kern="0" dirty="0">
                <a:latin typeface="Consolas" panose="020B0609020204030204" pitchFamily="49" charset="0"/>
              </a:rPr>
              <a:t>std::array&lt;int, 12&gt; </a:t>
            </a:r>
            <a:r>
              <a:rPr lang="en-US" b="1" kern="0" dirty="0">
                <a:solidFill>
                  <a:schemeClr val="accent2"/>
                </a:solidFill>
                <a:latin typeface="Consolas" panose="020B0609020204030204" pitchFamily="49" charset="0"/>
              </a:rPr>
              <a:t>array</a:t>
            </a:r>
            <a:r>
              <a:rPr lang="en-US" kern="0" dirty="0">
                <a:latin typeface="Consolas" panose="020B0609020204030204" pitchFamily="49" charset="0"/>
              </a:rPr>
              <a:t>{31, 28, 31, 30, 31, 30, 31, 31, 30, 31, 30, 31};</a:t>
            </a:r>
          </a:p>
          <a:p>
            <a:r>
              <a:rPr lang="en-US" kern="0" dirty="0">
                <a:latin typeface="Consolas" panose="020B0609020204030204" pitchFamily="49" charset="0"/>
              </a:rPr>
              <a:t>std::array&lt;int, 12&gt; </a:t>
            </a:r>
            <a:r>
              <a:rPr lang="en-US" b="1" kern="0" dirty="0" err="1">
                <a:solidFill>
                  <a:schemeClr val="accent2"/>
                </a:solidFill>
                <a:latin typeface="Consolas" panose="020B0609020204030204" pitchFamily="49" charset="0"/>
              </a:rPr>
              <a:t>dpm_arr</a:t>
            </a:r>
            <a:r>
              <a:rPr lang="en-US" kern="0" dirty="0">
                <a:latin typeface="Consolas" panose="020B0609020204030204" pitchFamily="49" charset="0"/>
              </a:rPr>
              <a:t>{31, 28, 31, 30, 31, 30, 31, 31, 30, 31, 30, 31};</a:t>
            </a:r>
          </a:p>
          <a:p>
            <a:r>
              <a:rPr lang="en-US" kern="0" dirty="0">
                <a:latin typeface="Consolas" panose="020B0609020204030204" pitchFamily="49" charset="0"/>
              </a:rPr>
              <a:t>std::array&lt;int, 12&gt; </a:t>
            </a:r>
            <a:r>
              <a:rPr lang="en-US" b="1" kern="0" dirty="0" err="1">
                <a:solidFill>
                  <a:schemeClr val="accent2"/>
                </a:solidFill>
                <a:latin typeface="Consolas" panose="020B0609020204030204" pitchFamily="49" charset="0"/>
              </a:rPr>
              <a:t>days_per_month</a:t>
            </a:r>
            <a:r>
              <a:rPr lang="en-US" kern="0" dirty="0">
                <a:latin typeface="Consolas" panose="020B0609020204030204" pitchFamily="49" charset="0"/>
              </a:rPr>
              <a:t>{31, 28, 31, 30, 31, 30, 31, 31, 30, 31, 30, 31};</a:t>
            </a:r>
            <a:endParaRPr lang="en-DE" kern="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0137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F1A45-A5E0-48FB-AFDF-5963F731D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nounceable Name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400287-B801-4AE6-804D-39D96BEA0E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FEEF0D-6AB2-4B31-911F-3E96839DF1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names that are easy to pronou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>
                <a:latin typeface="Consolas" panose="020B0609020204030204" pitchFamily="49" charset="0"/>
              </a:rPr>
              <a:t>int </a:t>
            </a:r>
            <a:r>
              <a:rPr lang="en-US" dirty="0" err="1">
                <a:latin typeface="Consolas" panose="020B0609020204030204" pitchFamily="49" charset="0"/>
              </a:rPr>
              <a:t>hw_crsr</a:t>
            </a:r>
            <a:r>
              <a:rPr lang="en-US" dirty="0">
                <a:latin typeface="Consolas" panose="020B0609020204030204" pitchFamily="49" charset="0"/>
              </a:rPr>
              <a:t>;</a:t>
            </a:r>
          </a:p>
          <a:p>
            <a:r>
              <a:rPr lang="en-US" dirty="0">
                <a:latin typeface="Consolas" panose="020B0609020204030204" pitchFamily="49" charset="0"/>
              </a:rPr>
              <a:t>int </a:t>
            </a:r>
            <a:r>
              <a:rPr lang="en-US" dirty="0" err="1">
                <a:latin typeface="Consolas" panose="020B0609020204030204" pitchFamily="49" charset="0"/>
              </a:rPr>
              <a:t>hardware_cursor</a:t>
            </a:r>
            <a:r>
              <a:rPr lang="en-US" dirty="0">
                <a:latin typeface="Consolas" panose="020B060902020403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185461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FEB668-8EE5-4CB7-A989-61257B71E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not Implementa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A40CA8-51E3-432F-94A0-46E30EE64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1BB38-A900-4886-899D-A8A743B1C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oid names that refer to implementation detail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They don’t reveal </a:t>
            </a:r>
            <a:r>
              <a:rPr lang="en-US" b="1" dirty="0"/>
              <a:t>why </a:t>
            </a:r>
            <a:r>
              <a:rPr lang="en-US" dirty="0"/>
              <a:t>the code was written the way it is written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But communicating intentions is your highest priority!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2087051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FEB668-8EE5-4CB7-A989-61257B71E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not Implementa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A40CA8-51E3-432F-94A0-46E30EE64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1BB38-A900-4886-899D-A8A743B1C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414588"/>
          </a:xfrm>
        </p:spPr>
        <p:txBody>
          <a:bodyPr/>
          <a:lstStyle/>
          <a:p>
            <a:r>
              <a:rPr lang="en-US" dirty="0"/>
              <a:t>int </a:t>
            </a:r>
            <a:r>
              <a:rPr lang="en-US" dirty="0" err="1"/>
              <a:t>add_array_elements</a:t>
            </a:r>
            <a:r>
              <a:rPr lang="en-US" dirty="0"/>
              <a:t>(const std::array&lt;int, 12&gt;&amp; </a:t>
            </a:r>
            <a:r>
              <a:rPr lang="en-US" dirty="0" err="1"/>
              <a:t>vec</a:t>
            </a:r>
            <a:r>
              <a:rPr lang="en-US" dirty="0"/>
              <a:t>) {</a:t>
            </a:r>
            <a:br>
              <a:rPr lang="en-US" dirty="0"/>
            </a:br>
            <a:r>
              <a:rPr lang="en-US" dirty="0"/>
              <a:t>    return std::accumulate(</a:t>
            </a:r>
            <a:r>
              <a:rPr lang="en-US" dirty="0" err="1"/>
              <a:t>cbegin</a:t>
            </a:r>
            <a:r>
              <a:rPr lang="en-US" dirty="0"/>
              <a:t>(</a:t>
            </a:r>
            <a:r>
              <a:rPr lang="en-US" dirty="0" err="1"/>
              <a:t>vec</a:t>
            </a:r>
            <a:r>
              <a:rPr lang="en-US" dirty="0"/>
              <a:t>), </a:t>
            </a:r>
            <a:r>
              <a:rPr lang="en-US" dirty="0" err="1"/>
              <a:t>cend</a:t>
            </a:r>
            <a:r>
              <a:rPr lang="en-US" dirty="0"/>
              <a:t>(</a:t>
            </a:r>
            <a:r>
              <a:rPr lang="en-US" dirty="0" err="1"/>
              <a:t>vec</a:t>
            </a:r>
            <a:r>
              <a:rPr lang="en-US" dirty="0"/>
              <a:t>), 0);</a:t>
            </a:r>
            <a:br>
              <a:rPr lang="en-US" dirty="0"/>
            </a:br>
            <a:r>
              <a:rPr lang="en-US" dirty="0"/>
              <a:t>}</a:t>
            </a:r>
          </a:p>
          <a:p>
            <a:r>
              <a:rPr lang="en-US" dirty="0" err="1"/>
              <a:t>add_array_elements</a:t>
            </a:r>
            <a:r>
              <a:rPr lang="en-US" dirty="0"/>
              <a:t>(</a:t>
            </a:r>
            <a:r>
              <a:rPr lang="en-US" dirty="0" err="1"/>
              <a:t>days_per_month</a:t>
            </a:r>
            <a:r>
              <a:rPr lang="en-US" dirty="0"/>
              <a:t>); // Looks reasonable.</a:t>
            </a:r>
          </a:p>
          <a:p>
            <a:endParaRPr lang="en-US" dirty="0"/>
          </a:p>
          <a:p>
            <a:r>
              <a:rPr lang="en-US" dirty="0"/>
              <a:t>int </a:t>
            </a:r>
            <a:r>
              <a:rPr lang="en-US" dirty="0" err="1"/>
              <a:t>compute_yearly_salary</a:t>
            </a:r>
            <a:r>
              <a:rPr lang="en-US" dirty="0"/>
              <a:t>(const std::array&lt;int, 12&gt;&amp; </a:t>
            </a:r>
            <a:r>
              <a:rPr lang="en-US" dirty="0" err="1"/>
              <a:t>monthly_salaries</a:t>
            </a:r>
            <a:r>
              <a:rPr lang="en-US" dirty="0"/>
              <a:t>) {</a:t>
            </a:r>
            <a:br>
              <a:rPr lang="en-US" dirty="0"/>
            </a:br>
            <a:r>
              <a:rPr lang="en-US" dirty="0"/>
              <a:t>    return std::accumulate(</a:t>
            </a:r>
            <a:r>
              <a:rPr lang="en-US" dirty="0" err="1"/>
              <a:t>cbegin</a:t>
            </a:r>
            <a:r>
              <a:rPr lang="en-US" dirty="0"/>
              <a:t>(</a:t>
            </a:r>
            <a:r>
              <a:rPr lang="en-US" dirty="0" err="1"/>
              <a:t>monthly_salaries</a:t>
            </a:r>
            <a:r>
              <a:rPr lang="en-US" dirty="0"/>
              <a:t>), </a:t>
            </a:r>
            <a:r>
              <a:rPr lang="en-US" dirty="0" err="1"/>
              <a:t>cend</a:t>
            </a:r>
            <a:r>
              <a:rPr lang="en-US" dirty="0"/>
              <a:t>(</a:t>
            </a:r>
            <a:r>
              <a:rPr lang="en-US" dirty="0" err="1"/>
              <a:t>monthly_salaries</a:t>
            </a:r>
            <a:r>
              <a:rPr lang="en-US" dirty="0"/>
              <a:t>), 0);</a:t>
            </a:r>
            <a:br>
              <a:rPr lang="en-US" dirty="0"/>
            </a:br>
            <a:r>
              <a:rPr lang="en-US" dirty="0"/>
              <a:t>}</a:t>
            </a:r>
          </a:p>
          <a:p>
            <a:r>
              <a:rPr lang="en-US" dirty="0" err="1"/>
              <a:t>compute_yearly_salary</a:t>
            </a:r>
            <a:r>
              <a:rPr lang="en-US" dirty="0"/>
              <a:t>(</a:t>
            </a:r>
            <a:r>
              <a:rPr lang="en-US" dirty="0" err="1"/>
              <a:t>days_per_month</a:t>
            </a:r>
            <a:r>
              <a:rPr lang="en-US" dirty="0"/>
              <a:t>); // </a:t>
            </a:r>
            <a:r>
              <a:rPr lang="en-US" b="1" dirty="0">
                <a:solidFill>
                  <a:schemeClr val="accent2"/>
                </a:solidFill>
              </a:rPr>
              <a:t>What?!?</a:t>
            </a:r>
            <a:endParaRPr lang="en-DE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407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8D724-9118-4334-9731-8D29B1542D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E0EF33-991F-4180-97BB-77B5AB1FAA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850083-F5D8-40FB-95EA-EA96A1125E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6" name="Picture 5" descr="A cat wearing a suit and tie&#10;&#10;Description automatically generated">
            <a:extLst>
              <a:ext uri="{FF2B5EF4-FFF2-40B4-BE49-F238E27FC236}">
                <a16:creationId xmlns:a16="http://schemas.microsoft.com/office/drawing/2014/main" id="{6FA7150C-A12D-4EB5-9122-77C8D2815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69554"/>
            <a:ext cx="12193588" cy="77924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F7ED442-EEFD-434E-9DE6-FDFCC2C53F53}"/>
              </a:ext>
            </a:extLst>
          </p:cNvPr>
          <p:cNvSpPr txBox="1"/>
          <p:nvPr/>
        </p:nvSpPr>
        <p:spPr>
          <a:xfrm flipH="1">
            <a:off x="7797799" y="436274"/>
            <a:ext cx="4711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dirty="0">
                <a:solidFill>
                  <a:schemeClr val="bg1"/>
                </a:solidFill>
              </a:rPr>
              <a:t>Avoid Disinformation</a:t>
            </a:r>
            <a:endParaRPr lang="en-DE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0252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72DD3-C1A8-422B-ABE4-D872560D6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 Disinforma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D8332F-4FF5-4D38-BFD7-AB532AEDF0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D6BA22-ADB8-4339-AE2F-B8A23FA39C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mes mean somet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information: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The name's meaning implies something different than its program code:</a:t>
            </a:r>
            <a:br>
              <a:rPr lang="en-US" dirty="0"/>
            </a:br>
            <a:r>
              <a:rPr lang="en-US" dirty="0">
                <a:latin typeface="Consolas" panose="020B0609020204030204" pitchFamily="49" charset="0"/>
              </a:rPr>
              <a:t>int </a:t>
            </a:r>
            <a:r>
              <a:rPr lang="en-US" dirty="0" err="1">
                <a:latin typeface="Consolas" panose="020B0609020204030204" pitchFamily="49" charset="0"/>
              </a:rPr>
              <a:t>vector_of_cards</a:t>
            </a:r>
            <a:r>
              <a:rPr lang="en-US" dirty="0">
                <a:latin typeface="Consolas" panose="020B0609020204030204" pitchFamily="49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355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72DD3-C1A8-422B-ABE4-D872560D6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 Disinformation: Rule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D8332F-4FF5-4D38-BFD7-AB532AEDF0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D6BA22-ADB8-4339-AE2F-B8A23FA39C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710543"/>
            <a:ext cx="10261600" cy="341879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oid platform names </a:t>
            </a:r>
            <a:r>
              <a:rPr lang="en-US" dirty="0" err="1">
                <a:latin typeface="Consolas" panose="020B0609020204030204" pitchFamily="49" charset="0"/>
              </a:rPr>
              <a:t>sco</a:t>
            </a:r>
            <a:r>
              <a:rPr lang="en-US" dirty="0"/>
              <a:t>, </a:t>
            </a:r>
            <a:r>
              <a:rPr lang="en-US" dirty="0" err="1">
                <a:latin typeface="Consolas" panose="020B0609020204030204" pitchFamily="49" charset="0"/>
              </a:rPr>
              <a:t>aix</a:t>
            </a:r>
            <a:r>
              <a:rPr lang="en-US" dirty="0"/>
              <a:t>, </a:t>
            </a:r>
            <a:r>
              <a:rPr lang="en-US" dirty="0" err="1">
                <a:latin typeface="Consolas" panose="020B0609020204030204" pitchFamily="49" charset="0"/>
              </a:rPr>
              <a:t>nt</a:t>
            </a:r>
            <a:endParaRPr lang="en-US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n't include a type in a variable name if the variable is not of that typ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Mostly: Don't include a type in a variable name at a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e careful with names that differ only slight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names that mean somet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e consistent when na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G: </a:t>
            </a:r>
            <a:r>
              <a:rPr lang="en-US" dirty="0">
                <a:hlinkClick r:id="rId2"/>
              </a:rPr>
              <a:t>NL.19: Avoid names that are easily misre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5521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72DD3-C1A8-422B-ABE4-D872560D6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 Disinformation: Similar Name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D8332F-4FF5-4D38-BFD7-AB532AEDF0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D6BA22-ADB8-4339-AE2F-B8A23FA39C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bool </a:t>
            </a:r>
            <a:r>
              <a:rPr lang="en-US" dirty="0" err="1">
                <a:latin typeface="Consolas" panose="020B0609020204030204" pitchFamily="49" charset="0"/>
              </a:rPr>
              <a:t>is_melee_defence_available</a:t>
            </a:r>
            <a:r>
              <a:rPr lang="en-US" dirty="0">
                <a:latin typeface="Consolas" panose="020B0609020204030204" pitchFamily="49" charset="0"/>
              </a:rPr>
              <a:t>{true};</a:t>
            </a:r>
          </a:p>
          <a:p>
            <a:r>
              <a:rPr lang="en-US" dirty="0">
                <a:latin typeface="Consolas" panose="020B0609020204030204" pitchFamily="49" charset="0"/>
              </a:rPr>
              <a:t>bool </a:t>
            </a:r>
            <a:r>
              <a:rPr lang="en-US" dirty="0" err="1">
                <a:latin typeface="Consolas" panose="020B0609020204030204" pitchFamily="49" charset="0"/>
              </a:rPr>
              <a:t>is_melee_defense_available</a:t>
            </a:r>
            <a:r>
              <a:rPr lang="en-US" dirty="0">
                <a:latin typeface="Consolas" panose="020B0609020204030204" pitchFamily="49" charset="0"/>
              </a:rPr>
              <a:t>{false};</a:t>
            </a:r>
          </a:p>
          <a:p>
            <a:r>
              <a:rPr lang="en-US" dirty="0">
                <a:latin typeface="Consolas" panose="020B0609020204030204" pitchFamily="49" charset="0"/>
              </a:rPr>
              <a:t>std::</a:t>
            </a:r>
            <a:r>
              <a:rPr lang="en-US" dirty="0" err="1">
                <a:latin typeface="Consolas" panose="020B0609020204030204" pitchFamily="49" charset="0"/>
              </a:rPr>
              <a:t>cout</a:t>
            </a:r>
            <a:r>
              <a:rPr lang="en-US" dirty="0">
                <a:latin typeface="Consolas" panose="020B0609020204030204" pitchFamily="49" charset="0"/>
              </a:rPr>
              <a:t> &lt;&lt; (</a:t>
            </a:r>
            <a:r>
              <a:rPr lang="en-US" dirty="0" err="1">
                <a:latin typeface="Consolas" panose="020B0609020204030204" pitchFamily="49" charset="0"/>
              </a:rPr>
              <a:t>is_melee_defence_available</a:t>
            </a:r>
            <a:r>
              <a:rPr lang="en-US" dirty="0">
                <a:latin typeface="Consolas" panose="020B0609020204030204" pitchFamily="49" charset="0"/>
              </a:rPr>
              <a:t> == </a:t>
            </a:r>
            <a:r>
              <a:rPr lang="en-US" dirty="0" err="1">
                <a:latin typeface="Consolas" panose="020B0609020204030204" pitchFamily="49" charset="0"/>
              </a:rPr>
              <a:t>is_melee_defense_available</a:t>
            </a:r>
            <a:r>
              <a:rPr lang="en-US" dirty="0">
                <a:latin typeface="Consolas" panose="020B06090202040302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699020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9794C4-1BB1-4370-ACA7-D4B1FF0622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2A18A6C-E4A1-4B86-BA69-11FC3DE433C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D27874-B244-4E33-9987-2A007F007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399"/>
            <a:ext cx="5782197" cy="769441"/>
          </a:xfrm>
        </p:spPr>
        <p:txBody>
          <a:bodyPr/>
          <a:lstStyle/>
          <a:p>
            <a:pPr algn="ctr"/>
            <a:r>
              <a:rPr lang="en-US" dirty="0"/>
              <a:t>Never Underestimate the Power of Names</a:t>
            </a:r>
          </a:p>
        </p:txBody>
      </p:sp>
    </p:spTree>
    <p:extLst>
      <p:ext uri="{BB962C8B-B14F-4D97-AF65-F5344CB8AC3E}">
        <p14:creationId xmlns:p14="http://schemas.microsoft.com/office/powerpoint/2010/main" val="11709190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72DD3-C1A8-422B-ABE4-D872560D6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ningful Distinction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D8332F-4FF5-4D38-BFD7-AB532AEDF0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D6BA22-ADB8-4339-AE2F-B8A23FA39C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names that express the meaning of concepts as clearly as poss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the same name for the same conce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clearly different names for different concep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G: </a:t>
            </a:r>
            <a:r>
              <a:rPr lang="en-US" dirty="0">
                <a:hlinkClick r:id="rId2"/>
              </a:rPr>
              <a:t>ES.8: Avoid similar-looking name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05945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83E22-FE58-49E8-94B2-5DC554010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ningful Distinction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E54817-2A07-44A8-8552-EE63934C8B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7CF533-5716-48C5-9EAF-E3E11D984D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3811686" cy="30956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>
                <a:latin typeface="Consolas" panose="020B0609020204030204" pitchFamily="49" charset="0"/>
              </a:rPr>
              <a:t>Dog a1{“Fluffy”}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Cat a2{“Garfield”}</a:t>
            </a:r>
            <a:endParaRPr lang="en-DE" dirty="0">
              <a:latin typeface="Consolas" panose="020B0609020204030204" pitchFamily="49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1BB972-A8AF-49A5-8208-6B9B1E5ABD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61785" y="2906100"/>
            <a:ext cx="5191125" cy="347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5503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83E22-FE58-49E8-94B2-5DC554010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ningful Distinction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E54817-2A07-44A8-8552-EE63934C8B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7CF533-5716-48C5-9EAF-E3E11D984D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3811686" cy="30956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>
                <a:latin typeface="Consolas" panose="020B0609020204030204" pitchFamily="49" charset="0"/>
              </a:rPr>
              <a:t>Dog </a:t>
            </a:r>
            <a:r>
              <a:rPr lang="en-US" dirty="0" err="1">
                <a:latin typeface="Consolas" panose="020B0609020204030204" pitchFamily="49" charset="0"/>
              </a:rPr>
              <a:t>my_dog</a:t>
            </a:r>
            <a:r>
              <a:rPr lang="en-US" dirty="0">
                <a:latin typeface="Consolas" panose="020B0609020204030204" pitchFamily="49" charset="0"/>
              </a:rPr>
              <a:t>{“Fluffy”}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Cat </a:t>
            </a:r>
            <a:r>
              <a:rPr lang="en-US" dirty="0" err="1">
                <a:latin typeface="Consolas" panose="020B0609020204030204" pitchFamily="49" charset="0"/>
              </a:rPr>
              <a:t>jons_cat</a:t>
            </a:r>
            <a:r>
              <a:rPr lang="en-US" dirty="0">
                <a:latin typeface="Consolas" panose="020B0609020204030204" pitchFamily="49" charset="0"/>
              </a:rPr>
              <a:t>{“Garfield”};</a:t>
            </a:r>
            <a:endParaRPr lang="en-DE" dirty="0">
              <a:latin typeface="Consolas" panose="020B0609020204030204" pitchFamily="49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1BB972-A8AF-49A5-8208-6B9B1E5ABD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61785" y="2906100"/>
            <a:ext cx="5191125" cy="347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0083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6184B-CAFA-49B6-B5A6-12E4B06AB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 Encodings Like Hungarian Nota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F3124E-EE7C-4CC4-BF3E-23D4D7CC84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51472B-7D8C-483B-8FD3-2BED26ED48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oid Hungarian notation </a:t>
            </a:r>
            <a:r>
              <a:rPr lang="en-US" dirty="0">
                <a:latin typeface="Consolas" panose="020B0609020204030204" pitchFamily="49" charset="0"/>
              </a:rPr>
              <a:t>char* </a:t>
            </a:r>
            <a:r>
              <a:rPr lang="en-US" dirty="0" err="1">
                <a:latin typeface="Consolas" panose="020B0609020204030204" pitchFamily="49" charset="0"/>
              </a:rPr>
              <a:t>pc_text</a:t>
            </a:r>
            <a:r>
              <a:rPr lang="en-US" dirty="0">
                <a:latin typeface="Consolas" panose="020B0609020204030204" pitchFamily="49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Avoid member prefixes: </a:t>
            </a:r>
            <a:r>
              <a:rPr lang="en-US" dirty="0" err="1">
                <a:latin typeface="Consolas" panose="020B0609020204030204" pitchFamily="49" charset="0"/>
              </a:rPr>
              <a:t>m_name</a:t>
            </a:r>
            <a:r>
              <a:rPr lang="en-US" dirty="0">
                <a:latin typeface="Consolas" panose="020B0609020204030204" pitchFamily="49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Avoid C/I prefixes: </a:t>
            </a:r>
            <a:r>
              <a:rPr lang="en-US" dirty="0" err="1">
                <a:latin typeface="Consolas" panose="020B0609020204030204" pitchFamily="49" charset="0"/>
              </a:rPr>
              <a:t>Cclass</a:t>
            </a:r>
            <a:r>
              <a:rPr lang="en-US" dirty="0">
                <a:latin typeface="Consolas" panose="020B0609020204030204" pitchFamily="49" charset="0"/>
              </a:rPr>
              <a:t>, </a:t>
            </a:r>
            <a:r>
              <a:rPr lang="en-US" dirty="0" err="1">
                <a:latin typeface="Consolas" panose="020B0609020204030204" pitchFamily="49" charset="0"/>
              </a:rPr>
              <a:t>Iinterface</a:t>
            </a:r>
            <a:endParaRPr lang="en-US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G: </a:t>
            </a:r>
            <a:r>
              <a:rPr lang="en-US" dirty="0">
                <a:hlinkClick r:id="rId2"/>
              </a:rPr>
              <a:t>NL.5: Avoid encoding type information in names</a:t>
            </a:r>
            <a:endParaRPr lang="en-US" dirty="0"/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4882325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393B3-ADFA-4726-9EFA-423382761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oose Correct Parts of Speech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CC15D6-AE19-4821-9FC1-62AA0A900B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732D37-E4EA-45B4-8788-6ACA9F9403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790701"/>
            <a:ext cx="10261600" cy="356853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asses and variables: nouns or noun phr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unctions: verb or verb phr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nums: often adjec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oolean variables and functions: often predicates: </a:t>
            </a:r>
            <a:r>
              <a:rPr lang="en-US" dirty="0">
                <a:latin typeface="Consolas" panose="020B0609020204030204" pitchFamily="49" charset="0"/>
              </a:rPr>
              <a:t>is…</a:t>
            </a:r>
            <a:r>
              <a:rPr lang="en-US" dirty="0"/>
              <a:t>, </a:t>
            </a:r>
            <a:r>
              <a:rPr lang="en-US" dirty="0">
                <a:latin typeface="Consolas" panose="020B0609020204030204" pitchFamily="49" charset="0"/>
              </a:rPr>
              <a:t>has…</a:t>
            </a:r>
          </a:p>
          <a:p>
            <a:endParaRPr lang="en-US" sz="2000" dirty="0">
              <a:latin typeface="+mn-lt"/>
            </a:endParaRPr>
          </a:p>
          <a:p>
            <a:r>
              <a:rPr lang="en-US" sz="2000" dirty="0">
                <a:latin typeface="+mn-lt"/>
              </a:rPr>
              <a:t>Possib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oid noisy words, such as Manager, Processor, Data,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getters/setters for accessor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5155321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777BE2-F417-4E3A-9621-6772313121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668674"/>
            <a:ext cx="10261600" cy="384721"/>
          </a:xfrm>
        </p:spPr>
        <p:txBody>
          <a:bodyPr/>
          <a:lstStyle/>
          <a:p>
            <a:r>
              <a:rPr lang="en-US" dirty="0"/>
              <a:t>Use Scope Length Rule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40638C-6351-49A7-B6D2-6211F3E15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908252-2980-458D-AF36-AA2D36380C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376075"/>
            <a:ext cx="10261600" cy="393073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riables: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Long scope = long nam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Short scope = short n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asses and Method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Long scope = small nam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Short scope = long name</a:t>
            </a:r>
          </a:p>
          <a:p>
            <a:endParaRPr lang="en-US" dirty="0"/>
          </a:p>
          <a:p>
            <a:r>
              <a:rPr lang="en-US" dirty="0"/>
              <a:t>But see also rule N5 from the Code Smells chapt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long names for long scopes</a:t>
            </a:r>
          </a:p>
        </p:txBody>
      </p:sp>
    </p:spTree>
    <p:extLst>
      <p:ext uri="{BB962C8B-B14F-4D97-AF65-F5344CB8AC3E}">
        <p14:creationId xmlns:p14="http://schemas.microsoft.com/office/powerpoint/2010/main" val="11597828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777BE2-F417-4E3A-9621-6772313121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668674"/>
            <a:ext cx="10261600" cy="384721"/>
          </a:xfrm>
        </p:spPr>
        <p:txBody>
          <a:bodyPr/>
          <a:lstStyle/>
          <a:p>
            <a:r>
              <a:rPr lang="en-US" dirty="0"/>
              <a:t>Use Scope Length Rule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40638C-6351-49A7-B6D2-6211F3E15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908252-2980-458D-AF36-AA2D36380C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743200"/>
            <a:ext cx="10261600" cy="3563608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template &lt;</a:t>
            </a:r>
            <a:r>
              <a:rPr lang="en-US" dirty="0" err="1">
                <a:latin typeface="Consolas" panose="020B0609020204030204" pitchFamily="49" charset="0"/>
              </a:rPr>
              <a:t>typename</a:t>
            </a:r>
            <a:r>
              <a:rPr lang="en-US" dirty="0">
                <a:latin typeface="Consolas" panose="020B0609020204030204" pitchFamily="49" charset="0"/>
              </a:rPr>
              <a:t> T, std::</a:t>
            </a:r>
            <a:r>
              <a:rPr lang="en-US" dirty="0" err="1">
                <a:latin typeface="Consolas" panose="020B0609020204030204" pitchFamily="49" charset="0"/>
              </a:rPr>
              <a:t>size_t</a:t>
            </a:r>
            <a:r>
              <a:rPr lang="en-US" dirty="0">
                <a:latin typeface="Consolas" panose="020B0609020204030204" pitchFamily="49" charset="0"/>
              </a:rPr>
              <a:t> Size&gt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class </a:t>
            </a:r>
            <a:r>
              <a:rPr lang="en-US" dirty="0" err="1">
                <a:latin typeface="Consolas" panose="020B0609020204030204" pitchFamily="49" charset="0"/>
              </a:rPr>
              <a:t>FixedSizeOrderedCollectionIndexedByInts</a:t>
            </a:r>
            <a:r>
              <a:rPr lang="en-US" dirty="0">
                <a:latin typeface="Consolas" panose="020B0609020204030204" pitchFamily="49" charset="0"/>
              </a:rPr>
              <a:t>{ /* … */};</a:t>
            </a:r>
          </a:p>
          <a:p>
            <a:r>
              <a:rPr lang="en-US" dirty="0" err="1">
                <a:latin typeface="Consolas" panose="020B0609020204030204" pitchFamily="49" charset="0"/>
              </a:rPr>
              <a:t>FixedSizeOrderedCollectionIndexedByInts</a:t>
            </a:r>
            <a:r>
              <a:rPr lang="en-US" dirty="0">
                <a:latin typeface="Consolas" panose="020B0609020204030204" pitchFamily="49" charset="0"/>
              </a:rPr>
              <a:t>&lt;int, 12&gt; </a:t>
            </a:r>
            <a:r>
              <a:rPr lang="en-US" dirty="0" err="1">
                <a:latin typeface="Consolas" panose="020B0609020204030204" pitchFamily="49" charset="0"/>
              </a:rPr>
              <a:t>monthly_salaries</a:t>
            </a:r>
            <a:r>
              <a:rPr lang="en-US" dirty="0">
                <a:latin typeface="Consolas" panose="020B0609020204030204" pitchFamily="49" charset="0"/>
              </a:rPr>
              <a:t>{};</a:t>
            </a:r>
          </a:p>
          <a:p>
            <a:r>
              <a:rPr lang="en-US" dirty="0">
                <a:latin typeface="Consolas" panose="020B0609020204030204" pitchFamily="49" charset="0"/>
              </a:rPr>
              <a:t>std::array&lt;int, 12&gt; </a:t>
            </a:r>
            <a:r>
              <a:rPr lang="en-US" dirty="0" err="1">
                <a:latin typeface="Consolas" panose="020B0609020204030204" pitchFamily="49" charset="0"/>
              </a:rPr>
              <a:t>monthly_salaries</a:t>
            </a:r>
            <a:r>
              <a:rPr lang="en-US" dirty="0">
                <a:latin typeface="Consolas" panose="020B0609020204030204" pitchFamily="49" charset="0"/>
              </a:rPr>
              <a:t>{};</a:t>
            </a:r>
          </a:p>
        </p:txBody>
      </p:sp>
    </p:spTree>
    <p:extLst>
      <p:ext uri="{BB962C8B-B14F-4D97-AF65-F5344CB8AC3E}">
        <p14:creationId xmlns:p14="http://schemas.microsoft.com/office/powerpoint/2010/main" val="20991706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BB2715C-9E55-432B-AF90-F40C2FEA9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974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/>
              <a:t>TITEL HEADLINE VERSA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7795664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3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 Abgeschieden wohnen sie in Buchstabhausen an der Küste des Semantik. </a:t>
            </a:r>
            <a:br>
              <a:rPr lang="de-DE" dirty="0"/>
            </a:br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Abgeschieden wohnen sie in Buchstabhausen an der Küste des Semantik, </a:t>
            </a:r>
            <a:br>
              <a:rPr lang="de-DE" dirty="0"/>
            </a:br>
            <a:r>
              <a:rPr lang="de-DE" dirty="0"/>
              <a:t>eines großen Sprachozeans. 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FOLIE MIT ZWEI HEADLINES.</a:t>
            </a:r>
          </a:p>
        </p:txBody>
      </p:sp>
    </p:spTree>
    <p:extLst>
      <p:ext uri="{BB962C8B-B14F-4D97-AF65-F5344CB8AC3E}">
        <p14:creationId xmlns:p14="http://schemas.microsoft.com/office/powerpoint/2010/main" val="665538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1C680-0CA1-43A1-85F7-80171618F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re good names important?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462619-54F5-4A48-9D5B-1F2A15157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F00C83-3298-42C8-926F-7CC648AE0B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mes are a powerful tool for communication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They are everywhere in the program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They tie code to domain concep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(See </a:t>
            </a:r>
            <a:r>
              <a:rPr lang="en-US" dirty="0" err="1">
                <a:latin typeface="Consolas" panose="020B0609020204030204" pitchFamily="49" charset="0"/>
              </a:rPr>
              <a:t>CleanCode</a:t>
            </a:r>
            <a:r>
              <a:rPr lang="en-US" dirty="0">
                <a:latin typeface="Consolas" panose="020B0609020204030204" pitchFamily="49" charset="0"/>
              </a:rPr>
              <a:t>/names.cpp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91833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08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28829637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2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A64E09B1-E192-4AD1-9AD7-E17913C547E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accent2">
              <a:alpha val="32000"/>
            </a:schemeClr>
          </a:solidFill>
        </p:spPr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 UND HEADLINE</a:t>
            </a:r>
          </a:p>
        </p:txBody>
      </p:sp>
    </p:spTree>
    <p:extLst>
      <p:ext uri="{BB962C8B-B14F-4D97-AF65-F5344CB8AC3E}">
        <p14:creationId xmlns:p14="http://schemas.microsoft.com/office/powerpoint/2010/main" val="27810549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013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WICHTIGEM KAS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: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415359"/>
          </a:xfrm>
        </p:spPr>
        <p:txBody>
          <a:bodyPr/>
          <a:lstStyle/>
          <a:p>
            <a:pPr lvl="0"/>
            <a:r>
              <a:rPr lang="de-DE" dirty="0"/>
              <a:t>Weit vorne</a:t>
            </a:r>
          </a:p>
          <a:p>
            <a:pPr lvl="0"/>
            <a:r>
              <a:rPr lang="de-DE" dirty="0"/>
              <a:t>die Wortberge</a:t>
            </a:r>
          </a:p>
          <a:p>
            <a:pPr lvl="0"/>
            <a:r>
              <a:rPr lang="de-DE" dirty="0"/>
              <a:t>in alle Länder</a:t>
            </a:r>
          </a:p>
          <a:p>
            <a:pPr lvl="0"/>
            <a:r>
              <a:rPr lang="de-DE" dirty="0"/>
              <a:t>purzeln die </a:t>
            </a:r>
            <a:r>
              <a:rPr lang="de-DE" dirty="0" err="1"/>
              <a:t>Vokalien</a:t>
            </a:r>
            <a:endParaRPr lang="de-DE" dirty="0"/>
          </a:p>
          <a:p>
            <a:pPr lvl="0"/>
            <a:r>
              <a:rPr lang="de-DE" dirty="0"/>
              <a:t>und lieben Blindtexte </a:t>
            </a:r>
          </a:p>
        </p:txBody>
      </p:sp>
    </p:spTree>
    <p:extLst>
      <p:ext uri="{BB962C8B-B14F-4D97-AF65-F5344CB8AC3E}">
        <p14:creationId xmlns:p14="http://schemas.microsoft.com/office/powerpoint/2010/main" val="42019533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1B2466-95F9-4851-8A01-A8B2F18E31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144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1B2466-95F9-4851-8A01-A8B2F18E31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8E66A55-5F2C-4277-85E6-7507ED40E5B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776DEF1-4DA8-4095-95B9-B6DDC95D0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FARBVARIANTE UND STÖRER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FDB1E67-1BFA-44F5-81A7-FB5BB25070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5B8B89-5FB9-4210-A16D-1911D4F099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/>
          <a:p>
            <a:pPr lvl="0"/>
            <a:r>
              <a:rPr lang="de-DE" dirty="0"/>
              <a:t>Weit hinten, hinter den Wortbergen, </a:t>
            </a:r>
            <a:br>
              <a:rPr lang="de-DE" dirty="0"/>
            </a:br>
            <a:r>
              <a:rPr lang="de-DE" dirty="0"/>
              <a:t>fern der Länder </a:t>
            </a:r>
            <a:r>
              <a:rPr lang="de-DE" dirty="0" err="1"/>
              <a:t>Vokalien</a:t>
            </a:r>
            <a:r>
              <a:rPr lang="de-DE" dirty="0"/>
              <a:t> und</a:t>
            </a:r>
            <a:br>
              <a:rPr lang="de-DE" dirty="0"/>
            </a:br>
            <a:r>
              <a:rPr lang="de-DE" dirty="0" err="1"/>
              <a:t>Konsonantien</a:t>
            </a:r>
            <a:r>
              <a:rPr lang="de-DE" dirty="0"/>
              <a:t> leben die Blindtexte.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Eines Tages aber beschloss eine kleine Zeile Blindtext …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5CC043-FD62-4F4E-9C2D-10C9DF93D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577883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31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DATA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/>
            <a:r>
              <a:rPr lang="de-DE" dirty="0"/>
              <a:t>@</a:t>
            </a:r>
            <a:r>
              <a:rPr lang="de-DE" dirty="0" err="1"/>
              <a:t>Override</a:t>
            </a:r>
            <a:endParaRPr lang="de-DE" dirty="0"/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/>
              <a:t>update(</a:t>
            </a:r>
            <a:r>
              <a:rPr lang="de-DE" dirty="0" err="1"/>
              <a:t>Subject</a:t>
            </a:r>
            <a:r>
              <a:rPr lang="de-DE" dirty="0"/>
              <a:t> </a:t>
            </a:r>
            <a:r>
              <a:rPr lang="de-DE" dirty="0" err="1"/>
              <a:t>subject</a:t>
            </a:r>
            <a:r>
              <a:rPr lang="de-DE" dirty="0"/>
              <a:t> {</a:t>
            </a:r>
          </a:p>
          <a:p>
            <a:pPr lvl="0"/>
            <a:r>
              <a:rPr lang="de-DE" b="1" dirty="0">
                <a:solidFill>
                  <a:srgbClr val="010180"/>
                </a:solidFill>
              </a:rPr>
              <a:t>    </a:t>
            </a:r>
            <a:r>
              <a:rPr lang="de-DE" b="1" dirty="0" err="1">
                <a:solidFill>
                  <a:srgbClr val="010180"/>
                </a:solidFill>
              </a:rPr>
              <a:t>if</a:t>
            </a:r>
            <a:r>
              <a:rPr lang="de-DE" dirty="0"/>
              <a:t>(</a:t>
            </a:r>
            <a:r>
              <a:rPr lang="de-DE" b="1" dirty="0" err="1">
                <a:solidFill>
                  <a:srgbClr val="010180"/>
                </a:solidFill>
              </a:rPr>
              <a:t>this.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/>
              <a:t> == </a:t>
            </a:r>
            <a:r>
              <a:rPr lang="de-DE" dirty="0" err="1"/>
              <a:t>subject</a:t>
            </a:r>
            <a:r>
              <a:rPr lang="de-DE" dirty="0"/>
              <a:t>)</a:t>
            </a:r>
          </a:p>
          <a:p>
            <a:pPr lvl="0"/>
            <a:r>
              <a:rPr lang="de-DE" dirty="0"/>
              <a:t>			</a:t>
            </a:r>
            <a:r>
              <a:rPr lang="de-DE" dirty="0" err="1"/>
              <a:t>show</a:t>
            </a:r>
            <a:r>
              <a:rPr lang="de-DE" dirty="0"/>
              <a:t>();}</a:t>
            </a:r>
          </a:p>
          <a:p>
            <a:pPr lvl="0"/>
            <a:endParaRPr lang="de-DE" b="1" dirty="0">
              <a:solidFill>
                <a:srgbClr val="010180"/>
              </a:solidFill>
            </a:endParaRPr>
          </a:p>
          <a:p>
            <a:pPr lvl="0"/>
            <a:r>
              <a:rPr lang="de-DE" b="1" dirty="0" err="1">
                <a:solidFill>
                  <a:srgbClr val="010180"/>
                </a:solidFill>
              </a:rPr>
              <a:t>public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b="1" dirty="0" err="1">
                <a:solidFill>
                  <a:srgbClr val="010180"/>
                </a:solidFill>
              </a:rPr>
              <a:t>void</a:t>
            </a:r>
            <a:r>
              <a:rPr lang="de-DE" b="1" dirty="0">
                <a:solidFill>
                  <a:srgbClr val="010180"/>
                </a:solidFill>
              </a:rPr>
              <a:t> </a:t>
            </a:r>
            <a:r>
              <a:rPr lang="de-DE" dirty="0" err="1"/>
              <a:t>show</a:t>
            </a:r>
            <a:r>
              <a:rPr lang="de-DE" dirty="0"/>
              <a:t>(){</a:t>
            </a:r>
          </a:p>
          <a:p>
            <a:pPr lvl="0"/>
            <a:r>
              <a:rPr lang="de-DE" dirty="0"/>
              <a:t>	String </a:t>
            </a:r>
            <a:r>
              <a:rPr lang="de-DE" dirty="0" err="1"/>
              <a:t>data</a:t>
            </a:r>
            <a:r>
              <a:rPr lang="de-DE" dirty="0"/>
              <a:t> = </a:t>
            </a:r>
            <a:r>
              <a:rPr lang="de-DE" b="1" dirty="0" err="1">
                <a:solidFill>
                  <a:srgbClr val="660E7A"/>
                </a:solidFill>
              </a:rPr>
              <a:t>subject</a:t>
            </a:r>
            <a:r>
              <a:rPr lang="de-DE" dirty="0" err="1"/>
              <a:t>.getData</a:t>
            </a:r>
            <a:r>
              <a:rPr lang="de-DE" dirty="0"/>
              <a:t>();    	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received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======================="</a:t>
            </a:r>
            <a:r>
              <a:rPr lang="de-DE" dirty="0"/>
              <a:t>);   </a:t>
            </a:r>
          </a:p>
          <a:p>
            <a:pPr lvl="0"/>
            <a:r>
              <a:rPr lang="de-DE" dirty="0"/>
              <a:t>	</a:t>
            </a:r>
            <a:r>
              <a:rPr lang="de-DE" dirty="0" err="1"/>
              <a:t>System.</a:t>
            </a:r>
            <a:r>
              <a:rPr lang="de-DE" b="1" dirty="0" err="1">
                <a:solidFill>
                  <a:srgbClr val="660E7A"/>
                </a:solidFill>
              </a:rPr>
              <a:t>out</a:t>
            </a:r>
            <a:r>
              <a:rPr lang="de-DE" dirty="0" err="1"/>
              <a:t>.printf</a:t>
            </a:r>
            <a:r>
              <a:rPr lang="de-DE" dirty="0"/>
              <a:t>(</a:t>
            </a:r>
            <a:r>
              <a:rPr lang="de-DE" b="1" dirty="0">
                <a:solidFill>
                  <a:srgbClr val="008000"/>
                </a:solidFill>
              </a:rPr>
              <a:t>"New </a:t>
            </a:r>
            <a:r>
              <a:rPr lang="de-DE" b="1" dirty="0" err="1">
                <a:solidFill>
                  <a:srgbClr val="008000"/>
                </a:solidFill>
              </a:rPr>
              <a:t>Subject</a:t>
            </a:r>
            <a:r>
              <a:rPr lang="de-DE" b="1" dirty="0">
                <a:solidFill>
                  <a:srgbClr val="008000"/>
                </a:solidFill>
              </a:rPr>
              <a:t>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: " + </a:t>
            </a:r>
            <a:r>
              <a:rPr lang="de-DE" b="1" dirty="0" err="1">
                <a:solidFill>
                  <a:srgbClr val="008000"/>
                </a:solidFill>
              </a:rPr>
              <a:t>data</a:t>
            </a:r>
            <a:r>
              <a:rPr lang="de-DE" b="1" dirty="0">
                <a:solidFill>
                  <a:srgbClr val="008000"/>
                </a:solidFill>
              </a:rPr>
              <a:t> + "</a:t>
            </a:r>
            <a:r>
              <a:rPr lang="de-DE" b="1" dirty="0">
                <a:solidFill>
                  <a:srgbClr val="010180"/>
                </a:solidFill>
              </a:rPr>
              <a:t>\n</a:t>
            </a:r>
            <a:r>
              <a:rPr lang="de-DE" b="1" dirty="0">
                <a:solidFill>
                  <a:srgbClr val="008000"/>
                </a:solidFill>
              </a:rPr>
              <a:t>"</a:t>
            </a:r>
            <a:r>
              <a:rPr lang="de-DE" dirty="0"/>
              <a:t>);}</a:t>
            </a:r>
          </a:p>
        </p:txBody>
      </p:sp>
    </p:spTree>
    <p:extLst>
      <p:ext uri="{BB962C8B-B14F-4D97-AF65-F5344CB8AC3E}">
        <p14:creationId xmlns:p14="http://schemas.microsoft.com/office/powerpoint/2010/main" val="11510291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ED6259-1DD0-4A43-B664-CF9B69B9AE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013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ED6259-1DD0-4A43-B664-CF9B69B9A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DA827CE-008A-4E27-865B-A51AF838E6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1C81093-AE2B-4AB6-BF5D-D220F34A5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GANZ HELLER FARBVARIAN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BB6D7A-75A2-4ADE-9CCB-D50688279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C3F87F-54AE-44E2-AB1D-AE0208D3B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leben die Blindtexte.</a:t>
            </a:r>
          </a:p>
          <a:p>
            <a:pPr lvl="0"/>
            <a:r>
              <a:rPr lang="de-DE" dirty="0"/>
              <a:t>Abgeschieden wohnen sie in Buchstabhausen an der Küste des Semantik, eines großen Sprachozeans. 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 werden die Blindtexte beherrscht – ein geradezu unorthographisches Leben.</a:t>
            </a:r>
          </a:p>
          <a:p>
            <a:pPr lvl="0"/>
            <a:r>
              <a:rPr lang="de-DE" b="1" dirty="0"/>
              <a:t>Eines Tages aber beschloss eine kleine Zeile Blindtext ...</a:t>
            </a:r>
          </a:p>
        </p:txBody>
      </p:sp>
    </p:spTree>
    <p:extLst>
      <p:ext uri="{BB962C8B-B14F-4D97-AF65-F5344CB8AC3E}">
        <p14:creationId xmlns:p14="http://schemas.microsoft.com/office/powerpoint/2010/main" val="30066479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F2F02F-2CA0-4A0B-A9DC-2D6ABAD9E7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815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F2F02F-2CA0-4A0B-A9DC-2D6ABAD9E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FFD9D31-7BDA-4BD4-B135-1C858AD881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7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6A2CA632-9494-407B-9CB5-A282992ED8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" r="6"/>
          <a:stretch>
            <a:fillRect/>
          </a:stretch>
        </p:blipFill>
        <p:spPr>
          <a:xfrm>
            <a:off x="0" y="1223963"/>
            <a:ext cx="12193588" cy="274002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3803F8C-6E06-4B15-AAD2-09250D499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1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FEFDC59-E357-46BB-B387-1374F10622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C53520-652B-4F50-9FF9-8F5F9F824B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3229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89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583318-BDA7-4F3B-8FE0-B702F1927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OLIE MIT BILD</a:t>
            </a:r>
            <a:br>
              <a:rPr lang="de-DE" dirty="0"/>
            </a:br>
            <a:r>
              <a:rPr lang="de-DE" dirty="0"/>
              <a:t>UND TEXT Variante 2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Weit hinten, hinter den Wortbergen, fern der Länder </a:t>
            </a:r>
            <a:r>
              <a:rPr lang="de-DE" dirty="0" err="1"/>
              <a:t>Vokalien</a:t>
            </a:r>
            <a:r>
              <a:rPr lang="de-DE" dirty="0"/>
              <a:t> und </a:t>
            </a:r>
            <a:r>
              <a:rPr lang="de-DE" dirty="0" err="1"/>
              <a:t>Konsonantien</a:t>
            </a:r>
            <a:r>
              <a:rPr lang="de-DE" dirty="0"/>
              <a:t> leben die Blindtexte. Abgeschieden wohnen sie in Buchstabhausen an der Küste des Semantik, eines großen Sprachozeans.</a:t>
            </a:r>
          </a:p>
          <a:p>
            <a:pPr lvl="0"/>
            <a:r>
              <a:rPr lang="de-DE" dirty="0"/>
              <a:t>Ein kleines Bächlein namens Duden fließt durch ihren Ort und versorgt sie mit den nötigen </a:t>
            </a:r>
            <a:r>
              <a:rPr lang="de-DE" dirty="0" err="1"/>
              <a:t>Regeliali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Es ist ein </a:t>
            </a:r>
            <a:r>
              <a:rPr lang="de-DE" dirty="0" err="1"/>
              <a:t>paradiesmatisches</a:t>
            </a:r>
            <a:r>
              <a:rPr lang="de-DE" dirty="0"/>
              <a:t> Land, in dem einem gebratene Satzteile in den Mund fliegen. Nicht einmal von der allmächtigen Interpunktion.</a:t>
            </a:r>
          </a:p>
          <a:p>
            <a:pPr lvl="0"/>
            <a:endParaRPr lang="de-DE" dirty="0"/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192" t="9775" r="9776"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3888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60922-2240-407A-ADF0-28C1D8F324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12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960922-2240-407A-ADF0-28C1D8F32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32777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877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CC00BC-A933-475E-BA8C-DAB1C0D495ED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A5CC87A1-D845-4ED0-A207-15D69AD0585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29"/>
          <a:stretch/>
        </p:blipFill>
        <p:spPr>
          <a:xfrm flipH="1">
            <a:off x="6096793" y="3033713"/>
            <a:ext cx="5112545" cy="3095624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F130903-B9C4-4446-936B-3426A23B1ED8}"/>
              </a:ext>
            </a:extLst>
          </p:cNvPr>
          <p:cNvGrpSpPr/>
          <p:nvPr/>
        </p:nvGrpSpPr>
        <p:grpSpPr>
          <a:xfrm>
            <a:off x="947738" y="1946734"/>
            <a:ext cx="5149055" cy="3072359"/>
            <a:chOff x="1493520" y="3209379"/>
            <a:chExt cx="4755674" cy="3072359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6D5F1A82-A5F7-4B2F-ADE4-641B8D7569D2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0A3A68F3-331F-48BE-8F58-553DE9BCCDDD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6191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7B0B-DBFC-4302-B51E-DD4DA4965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re good names important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7446CC-B48B-4DC2-9F1A-1441E8C683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7F88BD-4A4A-4D60-926B-785BE06D4A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double foo(double a, double b)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if (b &gt; 40.0) 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    throw std::invalid_argument(“Not allowed!"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}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return a * 40.0 + b * 60.0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19767867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36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785ADB-F82B-41E9-9ABE-1BF62E81D02A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4100F-D105-44BE-ADF8-66463BCC54B8}"/>
              </a:ext>
            </a:extLst>
          </p:cNvPr>
          <p:cNvSpPr/>
          <p:nvPr/>
        </p:nvSpPr>
        <p:spPr>
          <a:xfrm>
            <a:off x="287339" y="1224000"/>
            <a:ext cx="397245" cy="563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Picture 14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2B34B2DB-2FC7-4C47-B285-F400EC4F6F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58"/>
          <a:stretch/>
        </p:blipFill>
        <p:spPr>
          <a:xfrm flipH="1">
            <a:off x="6096794" y="1224000"/>
            <a:ext cx="6096794" cy="563400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B1089D6-FC1D-4308-A219-FC37C390DA5F}"/>
              </a:ext>
            </a:extLst>
          </p:cNvPr>
          <p:cNvGrpSpPr/>
          <p:nvPr/>
        </p:nvGrpSpPr>
        <p:grpSpPr>
          <a:xfrm>
            <a:off x="1341120" y="3056979"/>
            <a:ext cx="4755674" cy="3072359"/>
            <a:chOff x="1493520" y="3209379"/>
            <a:chExt cx="4755674" cy="3072359"/>
          </a:xfrm>
        </p:grpSpPr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0398E6F7-648D-4D29-A34E-DB29DD05A168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19" name="Text Placeholder 3">
              <a:extLst>
                <a:ext uri="{FF2B5EF4-FFF2-40B4-BE49-F238E27FC236}">
                  <a16:creationId xmlns:a16="http://schemas.microsoft.com/office/drawing/2014/main" id="{EBD88B2C-0EB1-49E2-B1EC-1712278CA660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62850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99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5F243D0-5CD3-473A-B9EA-448F4C5C1A00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3BFB58-270A-423B-BCF0-A0B2C45AE93D}"/>
              </a:ext>
            </a:extLst>
          </p:cNvPr>
          <p:cNvSpPr/>
          <p:nvPr/>
        </p:nvSpPr>
        <p:spPr>
          <a:xfrm rot="10800000">
            <a:off x="5340236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Picture 1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C3A86C3-B41B-4C49-8704-4D76A3C9380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42" t="713" r="220"/>
          <a:stretch/>
        </p:blipFill>
        <p:spPr>
          <a:xfrm flipH="1">
            <a:off x="1699577" y="2675396"/>
            <a:ext cx="5112543" cy="2750044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3689925-3C9A-4235-872D-4969DA02E52F}"/>
              </a:ext>
            </a:extLst>
          </p:cNvPr>
          <p:cNvGrpSpPr/>
          <p:nvPr/>
        </p:nvGrpSpPr>
        <p:grpSpPr>
          <a:xfrm>
            <a:off x="7563960" y="3392259"/>
            <a:ext cx="3640659" cy="3072359"/>
            <a:chOff x="1493520" y="3209379"/>
            <a:chExt cx="4755674" cy="3072359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125CE7AE-4B4B-45EA-AE8F-EC3A2A05919F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3209379"/>
              <a:ext cx="4755674" cy="76944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>
              <a:lvl1pPr marL="0" marR="0" indent="0" algn="l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tabLst>
                  <a:tab pos="0" algn="l"/>
                  <a:tab pos="448919" algn="l"/>
                  <a:tab pos="898199" algn="l"/>
                  <a:tab pos="1347480" algn="l"/>
                  <a:tab pos="1796760" algn="l"/>
                  <a:tab pos="2246040" algn="l"/>
                  <a:tab pos="2695320" algn="l"/>
                  <a:tab pos="3144600" algn="l"/>
                  <a:tab pos="3593880" algn="l"/>
                  <a:tab pos="4043159" algn="l"/>
                  <a:tab pos="4492440" algn="l"/>
                  <a:tab pos="4941719" algn="l"/>
                  <a:tab pos="5391000" algn="l"/>
                  <a:tab pos="5840280" algn="l"/>
                  <a:tab pos="6289560" algn="l"/>
                  <a:tab pos="6738840" algn="l"/>
                  <a:tab pos="7188120" algn="l"/>
                  <a:tab pos="7637400" algn="l"/>
                  <a:tab pos="8086679" algn="l"/>
                  <a:tab pos="8535960" algn="l"/>
                  <a:tab pos="8985240" algn="l"/>
                </a:tabLst>
                <a:defRPr lang="de-DE" sz="2500" b="0" i="0" u="none" strike="noStrike" cap="all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</a:lstStyle>
            <a:p>
              <a:pPr algn="ctr"/>
              <a:r>
                <a:rPr lang="de-DE" kern="0" dirty="0"/>
                <a:t>Apfel </a:t>
              </a:r>
              <a:br>
                <a:rPr lang="de-DE" kern="0" dirty="0"/>
              </a:br>
              <a:r>
                <a:rPr lang="de-DE" kern="0" dirty="0"/>
                <a:t>ist Gesund!</a:t>
              </a:r>
            </a:p>
          </p:txBody>
        </p:sp>
        <p:sp>
          <p:nvSpPr>
            <p:cNvPr id="22" name="Text Placeholder 3">
              <a:extLst>
                <a:ext uri="{FF2B5EF4-FFF2-40B4-BE49-F238E27FC236}">
                  <a16:creationId xmlns:a16="http://schemas.microsoft.com/office/drawing/2014/main" id="{A8A16760-903C-494B-8D6E-4487B4078E33}"/>
                </a:ext>
              </a:extLst>
            </p:cNvPr>
            <p:cNvSpPr txBox="1">
              <a:spLocks/>
            </p:cNvSpPr>
            <p:nvPr/>
          </p:nvSpPr>
          <p:spPr>
            <a:xfrm>
              <a:off x="1493520" y="4328160"/>
              <a:ext cx="4755674" cy="19535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25560" rIns="0" bIns="0" anchor="t" anchorCtr="0" compatLnSpc="1"/>
            <a:lstStyle>
              <a:lvl1pPr marL="0" marR="0" indent="0" algn="l" defTabSz="720725" rtl="0" hangingPunct="0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tabLst/>
                <a:defRPr lang="de-DE" sz="1800" b="0" i="0" u="none" strike="noStrike" baseline="0">
                  <a:ln>
                    <a:noFill/>
                  </a:ln>
                  <a:solidFill>
                    <a:schemeClr val="tx1"/>
                  </a:solidFill>
                  <a:latin typeface="Arial" pitchFamily="18"/>
                  <a:cs typeface="Arial" pitchFamily="18"/>
                </a:defRPr>
              </a:lvl1pPr>
              <a:lvl2pPr marL="1793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65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87"/>
                </a:spcAft>
                <a:buFont typeface="Symbol" panose="05050102010706020507" pitchFamily="18" charset="2"/>
                <a:buChar char="·"/>
                <a:defRPr sz="18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kern="0" dirty="0"/>
                <a:t>Roter Apf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753087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026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373202C-0E85-4461-8353-035947C9FDF7}"/>
              </a:ext>
            </a:extLst>
          </p:cNvPr>
          <p:cNvSpPr/>
          <p:nvPr/>
        </p:nvSpPr>
        <p:spPr>
          <a:xfrm>
            <a:off x="8985613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10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5FAB797-B87C-4848-853A-589D763E820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40" t="7313" r="193"/>
          <a:stretch/>
        </p:blipFill>
        <p:spPr>
          <a:xfrm flipH="1">
            <a:off x="947738" y="1946732"/>
            <a:ext cx="7307262" cy="4182603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1B63F71-11D1-4178-9433-39E45811DA8F}"/>
              </a:ext>
            </a:extLst>
          </p:cNvPr>
          <p:cNvSpPr txBox="1">
            <a:spLocks/>
          </p:cNvSpPr>
          <p:nvPr/>
        </p:nvSpPr>
        <p:spPr>
          <a:xfrm>
            <a:off x="9763761" y="5039360"/>
            <a:ext cx="1445578" cy="10899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R="0" indent="0" defTabSz="720725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b="0" i="0" u="none" strike="noStrike" baseline="0">
                <a:ln>
                  <a:noFill/>
                </a:ln>
                <a:latin typeface="Arial" pitchFamily="18"/>
                <a:cs typeface="Arial" pitchFamily="18"/>
              </a:defRPr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2pPr>
            <a:lvl3pPr marL="357188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3pPr>
            <a:lvl4pPr marL="5365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4pPr>
            <a:lvl5pPr marL="714375" indent="-179388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b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Roter Apfel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2DC7D7F-3328-4D0B-AB3D-B8AC30E22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16635AE-0BE4-418F-A6F5-FF509ADF643C}"/>
              </a:ext>
            </a:extLst>
          </p:cNvPr>
          <p:cNvSpPr txBox="1">
            <a:spLocks/>
          </p:cNvSpPr>
          <p:nvPr/>
        </p:nvSpPr>
        <p:spPr>
          <a:xfrm>
            <a:off x="9763761" y="3614921"/>
            <a:ext cx="1482090" cy="115416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R="0" indent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latin typeface="Arial" pitchFamily="18"/>
                <a:cs typeface="Arial" pitchFamily="18"/>
              </a:defRPr>
            </a:lvl1pPr>
          </a:lstStyle>
          <a:p>
            <a:r>
              <a:rPr lang="de-DE" dirty="0"/>
              <a:t>Apfel </a:t>
            </a:r>
            <a:br>
              <a:rPr lang="de-DE" dirty="0"/>
            </a:br>
            <a:r>
              <a:rPr lang="de-DE" dirty="0"/>
              <a:t>ist Gesund!</a:t>
            </a:r>
          </a:p>
        </p:txBody>
      </p:sp>
    </p:spTree>
    <p:extLst>
      <p:ext uri="{BB962C8B-B14F-4D97-AF65-F5344CB8AC3E}">
        <p14:creationId xmlns:p14="http://schemas.microsoft.com/office/powerpoint/2010/main" val="198268754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15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81105E8-5E28-4021-9BBD-1F579DB7F82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6031A1A-4944-4E71-A4E8-DF91D488460E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7C5187-09E5-41F1-ACD6-FE83295297E6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E84164-0D6F-499B-AE8D-C30748EA9EB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8F149DC-631F-44B9-9CB7-50E9806E96BF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0714518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66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E8D66839-84EB-4FA9-B0BA-6D2926A51DE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D2B6F72-64A9-421B-BC49-3EED06B3A21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EAF5509-C49E-4A23-AB4E-0D6AA950F145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5AF6F6-33AD-48B3-B3C9-9B30676473F9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70B1980-DBE2-497F-85DF-0B03765DE0C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D081BE7-243D-438B-A9DE-50C4876E770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8E16904-D2AF-4311-8793-0D4B469E8308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61BF106-8E7C-4053-A9E4-C8DEC355F04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CC37E2-BD9B-4F96-931B-66949BC46F9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41C54DE-29E7-481E-85FA-14B567FBB8F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E4AC89-4865-4EA0-8176-5C9597C07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734857D-D1F2-4981-99C3-F048BF40D8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2D626A03-DC9E-4E6D-BAC1-408CC6418882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4F3B491-2AED-47B2-981D-E6EBD59A93AB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247436549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14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4250902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264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0EDFEE73-8DD0-4A87-B8FD-808787B2601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C95696-766C-4C27-8EF3-F70372EA357B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Apfel ist Gesund!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DB9E31A-2C94-4A87-961C-E11E132B2E8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376569832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196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4C20A542-C62A-4A84-87CB-9BE31A9EEF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13" r="192"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oding Akademie München GmbH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E41F24-F405-4D85-8264-3A272F689EC3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42608DE-33D3-4A9E-AB48-3ADB9FC39DD8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15ABBA4-5892-4E82-A690-6C0ECAFE45D4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BBB0D2DC-17B5-4FE7-BA8F-96249124F7E7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5439910-636D-4A38-8388-3E64EF5E6E7A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DE7A86D-238E-4B27-9ACD-CC11ACF8807A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13779E2-E355-4DCE-97BC-E42AB70D98F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883B2561-B43C-4865-BC08-2392A3AEC81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7A60D5D-6331-4DCA-A756-322CF94ED9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B87818B-F7E4-47ED-8299-3E0F58CEB8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F59ED86-B10F-4717-BC15-0AF77F017BFF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/>
              <a:t>Apfel ist Gesund!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80CA0C7-5105-47F5-9205-A0792F94E69D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/>
              <a:t>Roter Apfel</a:t>
            </a:r>
          </a:p>
        </p:txBody>
      </p:sp>
    </p:spTree>
    <p:extLst>
      <p:ext uri="{BB962C8B-B14F-4D97-AF65-F5344CB8AC3E}">
        <p14:creationId xmlns:p14="http://schemas.microsoft.com/office/powerpoint/2010/main" val="1040492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7B0B-DBFC-4302-B51E-DD4DA4965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re good names important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7446CC-B48B-4DC2-9F1A-1441E8C683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7F88BD-4A4A-4D60-926B-785BE06D4A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>
                <a:latin typeface="Consolas" panose="020B0609020204030204" pitchFamily="49" charset="0"/>
              </a:rPr>
              <a:t>constexpr</a:t>
            </a:r>
            <a:r>
              <a:rPr lang="en-US" dirty="0">
                <a:latin typeface="Consolas" panose="020B0609020204030204" pitchFamily="49" charset="0"/>
              </a:rPr>
              <a:t> double </a:t>
            </a:r>
            <a:r>
              <a:rPr lang="en-US" dirty="0" err="1">
                <a:latin typeface="Consolas" panose="020B0609020204030204" pitchFamily="49" charset="0"/>
              </a:rPr>
              <a:t>regular_pay_per_hour</a:t>
            </a:r>
            <a:r>
              <a:rPr lang="en-US" dirty="0">
                <a:latin typeface="Consolas" panose="020B0609020204030204" pitchFamily="49" charset="0"/>
              </a:rPr>
              <a:t>{40.0}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 err="1">
                <a:latin typeface="Consolas" panose="020B0609020204030204" pitchFamily="49" charset="0"/>
              </a:rPr>
              <a:t>constexpr</a:t>
            </a:r>
            <a:r>
              <a:rPr lang="en-US" dirty="0">
                <a:latin typeface="Consolas" panose="020B0609020204030204" pitchFamily="49" charset="0"/>
              </a:rPr>
              <a:t> double </a:t>
            </a:r>
            <a:r>
              <a:rPr lang="en-US" dirty="0" err="1">
                <a:latin typeface="Consolas" panose="020B0609020204030204" pitchFamily="49" charset="0"/>
              </a:rPr>
              <a:t>overtime_pay_per_hour</a:t>
            </a:r>
            <a:r>
              <a:rPr lang="en-US" dirty="0">
                <a:latin typeface="Consolas" panose="020B0609020204030204" pitchFamily="49" charset="0"/>
              </a:rPr>
              <a:t>{60.0}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 err="1">
                <a:latin typeface="Consolas" panose="020B0609020204030204" pitchFamily="49" charset="0"/>
              </a:rPr>
              <a:t>constexpr</a:t>
            </a:r>
            <a:r>
              <a:rPr lang="en-US" dirty="0">
                <a:latin typeface="Consolas" panose="020B0609020204030204" pitchFamily="49" charset="0"/>
              </a:rPr>
              <a:t> double </a:t>
            </a:r>
            <a:r>
              <a:rPr lang="en-US" dirty="0" err="1">
                <a:latin typeface="Consolas" panose="020B0609020204030204" pitchFamily="49" charset="0"/>
              </a:rPr>
              <a:t>max_allowed_overtime</a:t>
            </a:r>
            <a:r>
              <a:rPr lang="en-US" dirty="0">
                <a:latin typeface="Consolas" panose="020B0609020204030204" pitchFamily="49" charset="0"/>
              </a:rPr>
              <a:t>{40.0};</a:t>
            </a:r>
          </a:p>
          <a:p>
            <a:r>
              <a:rPr lang="en-US" dirty="0">
                <a:latin typeface="Consolas" panose="020B0609020204030204" pitchFamily="49" charset="0"/>
              </a:rPr>
              <a:t>class </a:t>
            </a:r>
            <a:r>
              <a:rPr lang="en-US" dirty="0" err="1">
                <a:latin typeface="Consolas" panose="020B0609020204030204" pitchFamily="49" charset="0"/>
              </a:rPr>
              <a:t>too_much_overtime</a:t>
            </a:r>
            <a:r>
              <a:rPr lang="en-US" dirty="0">
                <a:latin typeface="Consolas" panose="020B0609020204030204" pitchFamily="49" charset="0"/>
              </a:rPr>
              <a:t> : public std::</a:t>
            </a:r>
            <a:r>
              <a:rPr lang="en-US" dirty="0" err="1">
                <a:latin typeface="Consolas" panose="020B0609020204030204" pitchFamily="49" charset="0"/>
              </a:rPr>
              <a:t>logic_error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public: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using std::</a:t>
            </a:r>
            <a:r>
              <a:rPr lang="en-US" dirty="0" err="1">
                <a:latin typeface="Consolas" panose="020B0609020204030204" pitchFamily="49" charset="0"/>
              </a:rPr>
              <a:t>logic_error</a:t>
            </a:r>
            <a:r>
              <a:rPr lang="en-US" dirty="0">
                <a:latin typeface="Consolas" panose="020B0609020204030204" pitchFamily="49" charset="0"/>
              </a:rPr>
              <a:t>::</a:t>
            </a:r>
            <a:r>
              <a:rPr lang="en-US" dirty="0" err="1">
                <a:latin typeface="Consolas" panose="020B0609020204030204" pitchFamily="49" charset="0"/>
              </a:rPr>
              <a:t>logic_error</a:t>
            </a:r>
            <a:r>
              <a:rPr lang="en-US" dirty="0">
                <a:latin typeface="Consolas" panose="020B0609020204030204" pitchFamily="49" charset="0"/>
              </a:rPr>
              <a:t>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6516404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7B0B-DBFC-4302-B51E-DD4DA4965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re good names important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7446CC-B48B-4DC2-9F1A-1441E8C683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7F88BD-4A4A-4D60-926B-785BE06D4A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double </a:t>
            </a:r>
            <a:r>
              <a:rPr lang="en-US" dirty="0" err="1">
                <a:latin typeface="Consolas" panose="020B0609020204030204" pitchFamily="49" charset="0"/>
              </a:rPr>
              <a:t>compute_total_salary</a:t>
            </a:r>
            <a:r>
              <a:rPr lang="en-US" dirty="0">
                <a:latin typeface="Consolas" panose="020B0609020204030204" pitchFamily="49" charset="0"/>
              </a:rPr>
              <a:t>(double </a:t>
            </a:r>
            <a:r>
              <a:rPr lang="en-US" dirty="0" err="1">
                <a:latin typeface="Consolas" panose="020B0609020204030204" pitchFamily="49" charset="0"/>
              </a:rPr>
              <a:t>regular_hours_worked</a:t>
            </a:r>
            <a:r>
              <a:rPr lang="en-US" dirty="0">
                <a:latin typeface="Consolas" panose="020B0609020204030204" pitchFamily="49" charset="0"/>
              </a:rPr>
              <a:t>,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                        double </a:t>
            </a:r>
            <a:r>
              <a:rPr lang="en-US" dirty="0" err="1">
                <a:latin typeface="Consolas" panose="020B0609020204030204" pitchFamily="49" charset="0"/>
              </a:rPr>
              <a:t>overtime_hours_worked</a:t>
            </a:r>
            <a:r>
              <a:rPr lang="en-US" dirty="0">
                <a:latin typeface="Consolas" panose="020B0609020204030204" pitchFamily="49" charset="0"/>
              </a:rPr>
              <a:t>)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if (</a:t>
            </a:r>
            <a:r>
              <a:rPr lang="en-US" dirty="0" err="1">
                <a:latin typeface="Consolas" panose="020B0609020204030204" pitchFamily="49" charset="0"/>
              </a:rPr>
              <a:t>overtime_hours_worked</a:t>
            </a:r>
            <a:r>
              <a:rPr lang="en-US" dirty="0">
                <a:latin typeface="Consolas" panose="020B0609020204030204" pitchFamily="49" charset="0"/>
              </a:rPr>
              <a:t> &gt; </a:t>
            </a:r>
            <a:r>
              <a:rPr lang="en-US" dirty="0" err="1">
                <a:latin typeface="Consolas" panose="020B0609020204030204" pitchFamily="49" charset="0"/>
              </a:rPr>
              <a:t>max_allowed_overtime</a:t>
            </a:r>
            <a:r>
              <a:rPr lang="en-US" dirty="0">
                <a:latin typeface="Consolas" panose="020B0609020204030204" pitchFamily="49" charset="0"/>
              </a:rPr>
              <a:t>) 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    throw </a:t>
            </a:r>
            <a:r>
              <a:rPr lang="en-US" dirty="0" err="1">
                <a:latin typeface="Consolas" panose="020B0609020204030204" pitchFamily="49" charset="0"/>
              </a:rPr>
              <a:t>too_much_overtime</a:t>
            </a:r>
            <a:r>
              <a:rPr lang="en-US" dirty="0">
                <a:latin typeface="Consolas" panose="020B0609020204030204" pitchFamily="49" charset="0"/>
              </a:rPr>
              <a:t>("Too much overtime!"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}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</a:t>
            </a:r>
            <a:r>
              <a:rPr lang="en-US" dirty="0" err="1">
                <a:latin typeface="Consolas" panose="020B0609020204030204" pitchFamily="49" charset="0"/>
              </a:rPr>
              <a:t>regular_pay</a:t>
            </a:r>
            <a:r>
              <a:rPr lang="en-US" dirty="0">
                <a:latin typeface="Consolas" panose="020B0609020204030204" pitchFamily="49" charset="0"/>
              </a:rPr>
              <a:t>{</a:t>
            </a:r>
            <a:r>
              <a:rPr lang="en-US" dirty="0" err="1">
                <a:latin typeface="Consolas" panose="020B0609020204030204" pitchFamily="49" charset="0"/>
              </a:rPr>
              <a:t>regular_hours_worked</a:t>
            </a:r>
            <a:r>
              <a:rPr lang="en-US" dirty="0">
                <a:latin typeface="Consolas" panose="020B0609020204030204" pitchFamily="49" charset="0"/>
              </a:rPr>
              <a:t> * </a:t>
            </a:r>
            <a:r>
              <a:rPr lang="en-US" dirty="0" err="1">
                <a:latin typeface="Consolas" panose="020B0609020204030204" pitchFamily="49" charset="0"/>
              </a:rPr>
              <a:t>regular_pay_per_hour</a:t>
            </a:r>
            <a:r>
              <a:rPr lang="en-US" dirty="0">
                <a:latin typeface="Consolas" panose="020B0609020204030204" pitchFamily="49" charset="0"/>
              </a:rPr>
              <a:t>}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double </a:t>
            </a:r>
            <a:r>
              <a:rPr lang="en-US" dirty="0" err="1">
                <a:latin typeface="Consolas" panose="020B0609020204030204" pitchFamily="49" charset="0"/>
              </a:rPr>
              <a:t>overtime_pay</a:t>
            </a:r>
            <a:r>
              <a:rPr lang="en-US" dirty="0">
                <a:latin typeface="Consolas" panose="020B0609020204030204" pitchFamily="49" charset="0"/>
              </a:rPr>
              <a:t>{</a:t>
            </a:r>
            <a:r>
              <a:rPr lang="en-US" dirty="0" err="1">
                <a:latin typeface="Consolas" panose="020B0609020204030204" pitchFamily="49" charset="0"/>
              </a:rPr>
              <a:t>overtime_hours_worked</a:t>
            </a:r>
            <a:r>
              <a:rPr lang="en-US" dirty="0">
                <a:latin typeface="Consolas" panose="020B0609020204030204" pitchFamily="49" charset="0"/>
              </a:rPr>
              <a:t> * </a:t>
            </a:r>
            <a:r>
              <a:rPr lang="en-US" dirty="0" err="1">
                <a:latin typeface="Consolas" panose="020B0609020204030204" pitchFamily="49" charset="0"/>
              </a:rPr>
              <a:t>overtime_pay_per_hour</a:t>
            </a:r>
            <a:r>
              <a:rPr lang="en-US" dirty="0">
                <a:latin typeface="Consolas" panose="020B0609020204030204" pitchFamily="49" charset="0"/>
              </a:rPr>
              <a:t>}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return </a:t>
            </a:r>
            <a:r>
              <a:rPr lang="en-US" dirty="0" err="1">
                <a:latin typeface="Consolas" panose="020B0609020204030204" pitchFamily="49" charset="0"/>
              </a:rPr>
              <a:t>regular_pay</a:t>
            </a:r>
            <a:r>
              <a:rPr lang="en-US" dirty="0">
                <a:latin typeface="Consolas" panose="020B0609020204030204" pitchFamily="49" charset="0"/>
              </a:rPr>
              <a:t> + </a:t>
            </a:r>
            <a:r>
              <a:rPr lang="en-US" dirty="0" err="1">
                <a:latin typeface="Consolas" panose="020B0609020204030204" pitchFamily="49" charset="0"/>
              </a:rPr>
              <a:t>overtime_pay</a:t>
            </a:r>
            <a:r>
              <a:rPr lang="en-US" dirty="0">
                <a:latin typeface="Consolas" panose="020B0609020204030204" pitchFamily="49" charset="0"/>
              </a:rPr>
              <a:t>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41001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1C680-0CA1-43A1-85F7-80171618F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hoose a Good Name? </a:t>
            </a:r>
            <a:r>
              <a:rPr lang="en-US" sz="1800" dirty="0"/>
              <a:t>(Generally Speaking)</a:t>
            </a:r>
            <a:endParaRPr lang="en-DE" sz="1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462619-54F5-4A48-9D5B-1F2A15157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F00C83-3298-42C8-926F-7CC648AE0B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ect for expressivity, not conven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names that say what they mean and mean what they say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Otherwise, maintenance becomes much harder...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... and most of the costs of software come from maintenance</a:t>
            </a:r>
          </a:p>
        </p:txBody>
      </p:sp>
    </p:spTree>
    <p:extLst>
      <p:ext uri="{BB962C8B-B14F-4D97-AF65-F5344CB8AC3E}">
        <p14:creationId xmlns:p14="http://schemas.microsoft.com/office/powerpoint/2010/main" val="29390134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78DA0F-19D0-4FEA-9141-DCD0AD77CC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Good Name?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FA9A026-40B8-4C76-BFDC-8140BC54148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6742CF-8839-4AC1-8523-5F8B4F89A7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swer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Why does this exist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What does it do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How is it use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 intention revealing (communicat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(Is generally not easy to find)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0210571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1FCF6-DA48-44B2-A831-6D5559F41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bad Name?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176AE8-89DD-4D52-B900-7479A41E9B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54FF17-9F58-4146-9AF8-0F386BBA8A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s a com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n only be understood by looking at the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des dis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es not conform to naming rule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898937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1kQEejTyEMAO3Re6Rz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03.vBULhypothyeq0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Xv2CfPmN8Y3mYBMopW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1</TotalTime>
  <Words>2124</Words>
  <Application>Microsoft Office PowerPoint</Application>
  <PresentationFormat>Custom</PresentationFormat>
  <Paragraphs>244</Paragraphs>
  <Slides>4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4" baseType="lpstr">
      <vt:lpstr>Arial</vt:lpstr>
      <vt:lpstr>Calibri</vt:lpstr>
      <vt:lpstr>Consolas</vt:lpstr>
      <vt:lpstr>Symbol</vt:lpstr>
      <vt:lpstr>Times New Roman</vt:lpstr>
      <vt:lpstr>2019 @ CAM Master</vt:lpstr>
      <vt:lpstr>think-cell Folie</vt:lpstr>
      <vt:lpstr>PowerPoint Presentation</vt:lpstr>
      <vt:lpstr>Never Underestimate the Power of Names</vt:lpstr>
      <vt:lpstr>Why are good names important?</vt:lpstr>
      <vt:lpstr>Why are good names important?</vt:lpstr>
      <vt:lpstr>Why are good names important?</vt:lpstr>
      <vt:lpstr>Why are good names important?</vt:lpstr>
      <vt:lpstr>How to Choose a Good Name? (Generally Speaking)</vt:lpstr>
      <vt:lpstr>What is a Good Name?</vt:lpstr>
      <vt:lpstr>What is a bad Name?</vt:lpstr>
      <vt:lpstr>Naming Rules (Clean Code)</vt:lpstr>
      <vt:lpstr>Use self-explanatory names</vt:lpstr>
      <vt:lpstr>Intention-Revealing Names</vt:lpstr>
      <vt:lpstr>Pronounceable Names</vt:lpstr>
      <vt:lpstr>Problem not Implementation</vt:lpstr>
      <vt:lpstr>Problem not Implementation</vt:lpstr>
      <vt:lpstr>PowerPoint Presentation</vt:lpstr>
      <vt:lpstr>Avoid Disinformation</vt:lpstr>
      <vt:lpstr>Avoid Disinformation: Rules</vt:lpstr>
      <vt:lpstr>Avoid Disinformation: Similar Names</vt:lpstr>
      <vt:lpstr>Meaningful Distinctions</vt:lpstr>
      <vt:lpstr>Meaningful Distinctions</vt:lpstr>
      <vt:lpstr>Meaningful Distinctions</vt:lpstr>
      <vt:lpstr>Avoid Encodings Like Hungarian Notation</vt:lpstr>
      <vt:lpstr>Choose Correct Parts of Speech</vt:lpstr>
      <vt:lpstr>Use Scope Length Rules</vt:lpstr>
      <vt:lpstr>Use Scope Length Rules</vt:lpstr>
      <vt:lpstr>PowerPoint Presentation</vt:lpstr>
      <vt:lpstr>TITEL HEADLINE VERSAL</vt:lpstr>
      <vt:lpstr>FOLIE MIT FARBVARIANTE</vt:lpstr>
      <vt:lpstr>FOLIE MIT FARBVARIANTE</vt:lpstr>
      <vt:lpstr>FOLIE MIT BILD UND HEADLINE</vt:lpstr>
      <vt:lpstr>FOLIE MIT WICHTIGEM KASTEN</vt:lpstr>
      <vt:lpstr>FOLIE MIT FARBVARIANTE UND STÖRER</vt:lpstr>
      <vt:lpstr>FOLIE MIT DATA</vt:lpstr>
      <vt:lpstr>FOLIE MIT GANZ HELLER FARBVARIANTE</vt:lpstr>
      <vt:lpstr>FOLIE MIT BILD UND TEXT Variante 1</vt:lpstr>
      <vt:lpstr>FOLIE MIT BILD UND TEXT Variante 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M</dc:creator>
  <cp:lastModifiedBy>Matthias Hölzl</cp:lastModifiedBy>
  <cp:revision>256</cp:revision>
  <dcterms:created xsi:type="dcterms:W3CDTF">2019-07-01T16:47:04Z</dcterms:created>
  <dcterms:modified xsi:type="dcterms:W3CDTF">2022-01-17T07:58:01Z</dcterms:modified>
</cp:coreProperties>
</file>